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4" r:id="rId2"/>
  </p:sldMasterIdLst>
  <p:notesMasterIdLst>
    <p:notesMasterId r:id="rId7"/>
  </p:notesMasterIdLst>
  <p:sldIdLst>
    <p:sldId id="262" r:id="rId3"/>
    <p:sldId id="2147376489" r:id="rId4"/>
    <p:sldId id="2147376479" r:id="rId5"/>
    <p:sldId id="2147376488" r:id="rId6"/>
  </p:sldIdLst>
  <p:sldSz cx="12192000" cy="6858000"/>
  <p:notesSz cx="6858000" cy="9144000"/>
  <p:defaultTextStyle>
    <a:defPPr>
      <a:defRPr lang="af-ZA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 varScale="1">
        <p:scale>
          <a:sx n="73" d="100"/>
          <a:sy n="73" d="100"/>
        </p:scale>
        <p:origin x="618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ableStyles" Target="tableStyles.xml"/><Relationship Id="rId5" Type="http://schemas.openxmlformats.org/officeDocument/2006/relationships/slide" Target="slides/slide3.xml"/><Relationship Id="rId10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af-Z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E18FADB-CC9E-4670-9DDD-3C30567DA611}" type="datetimeFigureOut">
              <a:rPr lang="af-ZA" smtClean="0"/>
              <a:t>2022-09-27</a:t>
            </a:fld>
            <a:endParaRPr lang="af-Z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af-Z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af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af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D259317-4E9C-46E9-9589-CB3EEBC18AA2}" type="slidenum">
              <a:rPr lang="af-ZA" smtClean="0"/>
              <a:t>‹#›</a:t>
            </a:fld>
            <a:endParaRPr lang="af-ZA"/>
          </a:p>
        </p:txBody>
      </p:sp>
    </p:spTree>
    <p:extLst>
      <p:ext uri="{BB962C8B-B14F-4D97-AF65-F5344CB8AC3E}">
        <p14:creationId xmlns:p14="http://schemas.microsoft.com/office/powerpoint/2010/main" val="28663277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4.jpeg"/><Relationship Id="rId5" Type="http://schemas.openxmlformats.org/officeDocument/2006/relationships/image" Target="../media/image2.jpeg"/><Relationship Id="rId4" Type="http://schemas.openxmlformats.org/officeDocument/2006/relationships/image" Target="../media/image13.jpeg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4.jpeg"/><Relationship Id="rId5" Type="http://schemas.openxmlformats.org/officeDocument/2006/relationships/image" Target="../media/image2.jpeg"/><Relationship Id="rId4" Type="http://schemas.openxmlformats.org/officeDocument/2006/relationships/image" Target="../media/image13.jpe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4.jpeg"/><Relationship Id="rId5" Type="http://schemas.openxmlformats.org/officeDocument/2006/relationships/image" Target="../media/image2.jpeg"/><Relationship Id="rId4" Type="http://schemas.openxmlformats.org/officeDocument/2006/relationships/image" Target="../media/image13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.jpeg"/><Relationship Id="rId4" Type="http://schemas.openxmlformats.org/officeDocument/2006/relationships/image" Target="../media/image10.jpe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/>
        </p:nvCxnSpPr>
        <p:spPr>
          <a:xfrm>
            <a:off x="0" y="594928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11"/>
          <p:cNvPicPr>
            <a:picLocks noChangeAspect="1" noChangeArrowheads="1"/>
          </p:cNvPicPr>
          <p:nvPr/>
        </p:nvPicPr>
        <p:blipFill>
          <a:blip r:embed="rId2" cstate="print"/>
          <a:srcRect r="26000"/>
          <a:stretch>
            <a:fillRect/>
          </a:stretch>
        </p:blipFill>
        <p:spPr bwMode="auto">
          <a:xfrm>
            <a:off x="304800" y="1219200"/>
            <a:ext cx="2090058" cy="14122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7"/>
          <p:cNvPicPr>
            <a:picLocks noChangeAspect="1" noChangeArrowheads="1"/>
          </p:cNvPicPr>
          <p:nvPr/>
        </p:nvPicPr>
        <p:blipFill>
          <a:blip r:embed="rId3" cstate="print"/>
          <a:srcRect l="5799" r="18813"/>
          <a:stretch>
            <a:fillRect/>
          </a:stretch>
        </p:blipFill>
        <p:spPr bwMode="auto">
          <a:xfrm flipH="1">
            <a:off x="304800" y="2743201"/>
            <a:ext cx="2090058" cy="13720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4"/>
          <p:cNvPicPr>
            <a:picLocks noChangeAspect="1" noChangeArrowheads="1"/>
          </p:cNvPicPr>
          <p:nvPr/>
        </p:nvPicPr>
        <p:blipFill>
          <a:blip r:embed="rId4" cstate="print"/>
          <a:srcRect l="11563" r="32932" b="27168"/>
          <a:stretch>
            <a:fillRect/>
          </a:stretch>
        </p:blipFill>
        <p:spPr bwMode="auto">
          <a:xfrm>
            <a:off x="304801" y="4267200"/>
            <a:ext cx="2090057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6" name="Straight Connector 5"/>
          <p:cNvCxnSpPr/>
          <p:nvPr/>
        </p:nvCxnSpPr>
        <p:spPr>
          <a:xfrm>
            <a:off x="3352800" y="2667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/>
        </p:nvCxnSpPr>
        <p:spPr>
          <a:xfrm>
            <a:off x="3352800" y="4191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3352800" y="2852738"/>
            <a:ext cx="8534400" cy="122396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2566988" y="6026664"/>
            <a:ext cx="9290050" cy="6424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8444613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1"/>
          <p:cNvPicPr>
            <a:picLocks noChangeAspect="1" noChangeArrowheads="1"/>
          </p:cNvPicPr>
          <p:nvPr/>
        </p:nvPicPr>
        <p:blipFill>
          <a:blip r:embed="rId2" cstate="print"/>
          <a:srcRect r="26000"/>
          <a:stretch>
            <a:fillRect/>
          </a:stretch>
        </p:blipFill>
        <p:spPr bwMode="auto">
          <a:xfrm>
            <a:off x="304800" y="1219200"/>
            <a:ext cx="2032000" cy="13729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9" name="Picture 7"/>
          <p:cNvPicPr>
            <a:picLocks noChangeAspect="1" noChangeArrowheads="1"/>
          </p:cNvPicPr>
          <p:nvPr/>
        </p:nvPicPr>
        <p:blipFill>
          <a:blip r:embed="rId3" cstate="print"/>
          <a:srcRect l="5799" r="18813"/>
          <a:stretch>
            <a:fillRect/>
          </a:stretch>
        </p:blipFill>
        <p:spPr bwMode="auto">
          <a:xfrm flipH="1">
            <a:off x="304800" y="2743201"/>
            <a:ext cx="2032000" cy="13338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9"/>
          <p:cNvPicPr>
            <a:picLocks noChangeAspect="1" noChangeArrowheads="1"/>
          </p:cNvPicPr>
          <p:nvPr/>
        </p:nvPicPr>
        <p:blipFill>
          <a:blip r:embed="rId4" cstate="print"/>
          <a:srcRect l="11563" r="32932" b="27168"/>
          <a:stretch>
            <a:fillRect/>
          </a:stretch>
        </p:blipFill>
        <p:spPr bwMode="auto">
          <a:xfrm>
            <a:off x="304801" y="4267200"/>
            <a:ext cx="2090057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12" name="Straight Connector 11"/>
          <p:cNvCxnSpPr/>
          <p:nvPr/>
        </p:nvCxnSpPr>
        <p:spPr>
          <a:xfrm>
            <a:off x="3352800" y="2667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3352800" y="4191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NDOH Logo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203200" y="5867400"/>
            <a:ext cx="3048000" cy="824484"/>
          </a:xfrm>
          <a:prstGeom prst="rect">
            <a:avLst/>
          </a:prstGeom>
        </p:spPr>
      </p:pic>
      <p:cxnSp>
        <p:nvCxnSpPr>
          <p:cNvPr id="17" name="Straight Connector 16"/>
          <p:cNvCxnSpPr/>
          <p:nvPr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09" r="16279" b="12798"/>
          <a:stretch/>
        </p:blipFill>
        <p:spPr>
          <a:xfrm>
            <a:off x="10512491" y="5810673"/>
            <a:ext cx="1505940" cy="992853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831639" y="3000047"/>
            <a:ext cx="8832981" cy="1066801"/>
          </a:xfrm>
        </p:spPr>
        <p:txBody>
          <a:bodyPr/>
          <a:lstStyle>
            <a:lvl1pPr algn="ctr">
              <a:defRPr>
                <a:solidFill>
                  <a:schemeClr val="accent6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648643679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38522"/>
            <a:ext cx="10635260" cy="100508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09" r="16279" b="12798"/>
          <a:stretch/>
        </p:blipFill>
        <p:spPr>
          <a:xfrm>
            <a:off x="10673361" y="57573"/>
            <a:ext cx="1429120" cy="94220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09" r="16279" b="12798"/>
          <a:stretch/>
        </p:blipFill>
        <p:spPr>
          <a:xfrm>
            <a:off x="10673361" y="57573"/>
            <a:ext cx="1429120" cy="94220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42851285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-1"/>
            <a:ext cx="10512491" cy="106680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09" r="16279" b="12798"/>
          <a:stretch/>
        </p:blipFill>
        <p:spPr>
          <a:xfrm>
            <a:off x="10673361" y="57573"/>
            <a:ext cx="1429120" cy="94220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4" name="Picture 3" descr="NDOH Logo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43338" y="6006430"/>
            <a:ext cx="2820459" cy="7629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2022837"/>
      </p:ext>
    </p:extLst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S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54631330"/>
      </p:ext>
    </p:extLst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-1"/>
            <a:ext cx="10512491" cy="106680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09" r="16279" b="12798"/>
          <a:stretch/>
        </p:blipFill>
        <p:spPr>
          <a:xfrm>
            <a:off x="10673361" y="57573"/>
            <a:ext cx="1429120" cy="94220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4" name="Picture 3" descr="NDOH Logo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43338" y="6006430"/>
            <a:ext cx="2820459" cy="7629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5319582"/>
      </p:ext>
    </p:extLst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43934" y="1268413"/>
            <a:ext cx="11904133" cy="5473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802733743"/>
      </p:ext>
    </p:extLst>
  </p:cSld>
  <p:clrMapOvr>
    <a:masterClrMapping/>
  </p:clrMapOvr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1"/>
          <p:cNvPicPr>
            <a:picLocks noChangeAspect="1" noChangeArrowheads="1"/>
          </p:cNvPicPr>
          <p:nvPr/>
        </p:nvPicPr>
        <p:blipFill>
          <a:blip r:embed="rId2" cstate="print"/>
          <a:srcRect r="26000"/>
          <a:stretch>
            <a:fillRect/>
          </a:stretch>
        </p:blipFill>
        <p:spPr bwMode="auto">
          <a:xfrm>
            <a:off x="304800" y="1219200"/>
            <a:ext cx="2032000" cy="13729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9" name="Picture 7"/>
          <p:cNvPicPr>
            <a:picLocks noChangeAspect="1" noChangeArrowheads="1"/>
          </p:cNvPicPr>
          <p:nvPr/>
        </p:nvPicPr>
        <p:blipFill>
          <a:blip r:embed="rId3" cstate="print"/>
          <a:srcRect l="5799" r="18813"/>
          <a:stretch>
            <a:fillRect/>
          </a:stretch>
        </p:blipFill>
        <p:spPr bwMode="auto">
          <a:xfrm flipH="1">
            <a:off x="304800" y="2743201"/>
            <a:ext cx="2032000" cy="13338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9"/>
          <p:cNvPicPr>
            <a:picLocks noChangeAspect="1" noChangeArrowheads="1"/>
          </p:cNvPicPr>
          <p:nvPr/>
        </p:nvPicPr>
        <p:blipFill>
          <a:blip r:embed="rId4" cstate="print"/>
          <a:srcRect l="11563" r="32932" b="27168"/>
          <a:stretch>
            <a:fillRect/>
          </a:stretch>
        </p:blipFill>
        <p:spPr bwMode="auto">
          <a:xfrm>
            <a:off x="304801" y="4267200"/>
            <a:ext cx="2090057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12" name="Straight Connector 11"/>
          <p:cNvCxnSpPr/>
          <p:nvPr/>
        </p:nvCxnSpPr>
        <p:spPr>
          <a:xfrm>
            <a:off x="3352800" y="2667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3352800" y="4191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NDOH Logo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203200" y="5867400"/>
            <a:ext cx="3048000" cy="824484"/>
          </a:xfrm>
          <a:prstGeom prst="rect">
            <a:avLst/>
          </a:prstGeom>
        </p:spPr>
      </p:pic>
      <p:cxnSp>
        <p:nvCxnSpPr>
          <p:cNvPr id="17" name="Straight Connector 16"/>
          <p:cNvCxnSpPr/>
          <p:nvPr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09" r="16279" b="12798"/>
          <a:stretch/>
        </p:blipFill>
        <p:spPr>
          <a:xfrm>
            <a:off x="10512491" y="5810673"/>
            <a:ext cx="1505940" cy="992853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831639" y="3000047"/>
            <a:ext cx="8832981" cy="1066801"/>
          </a:xfrm>
        </p:spPr>
        <p:txBody>
          <a:bodyPr/>
          <a:lstStyle>
            <a:lvl1pPr algn="ctr">
              <a:defRPr>
                <a:solidFill>
                  <a:schemeClr val="accent6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534040937"/>
      </p:ext>
    </p:extLst>
  </p:cSld>
  <p:clrMapOvr>
    <a:masterClrMapping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-1"/>
            <a:ext cx="10512491" cy="106680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09" r="16279" b="12798"/>
          <a:stretch/>
        </p:blipFill>
        <p:spPr>
          <a:xfrm>
            <a:off x="10673361" y="57573"/>
            <a:ext cx="1429120" cy="94220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4" name="Picture 3" descr="NDOH Logo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43338" y="6006430"/>
            <a:ext cx="2820459" cy="7629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6611181"/>
      </p:ext>
    </p:extLst>
  </p:cSld>
  <p:clrMapOvr>
    <a:masterClrMapping/>
  </p:clrMapOvr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2_Title and Content">
    <p:bg>
      <p:bgPr>
        <a:solidFill>
          <a:srgbClr val="005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3338" y="-1"/>
            <a:ext cx="12001335" cy="908721"/>
          </a:xfrm>
        </p:spPr>
        <p:txBody>
          <a:bodyPr/>
          <a:lstStyle>
            <a:lvl1pPr algn="ctr">
              <a:defRPr>
                <a:solidFill>
                  <a:schemeClr val="accent6">
                    <a:lumMod val="40000"/>
                    <a:lumOff val="6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77988214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1"/>
          <p:cNvPicPr>
            <a:picLocks noChangeAspect="1" noChangeArrowheads="1"/>
          </p:cNvPicPr>
          <p:nvPr/>
        </p:nvPicPr>
        <p:blipFill>
          <a:blip r:embed="rId2" cstate="print"/>
          <a:srcRect r="26000"/>
          <a:stretch>
            <a:fillRect/>
          </a:stretch>
        </p:blipFill>
        <p:spPr bwMode="auto">
          <a:xfrm>
            <a:off x="304800" y="1219200"/>
            <a:ext cx="2032000" cy="13729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9" name="Picture 7"/>
          <p:cNvPicPr>
            <a:picLocks noChangeAspect="1" noChangeArrowheads="1"/>
          </p:cNvPicPr>
          <p:nvPr/>
        </p:nvPicPr>
        <p:blipFill>
          <a:blip r:embed="rId3" cstate="print"/>
          <a:srcRect l="5799" r="18813"/>
          <a:stretch>
            <a:fillRect/>
          </a:stretch>
        </p:blipFill>
        <p:spPr bwMode="auto">
          <a:xfrm flipH="1">
            <a:off x="304800" y="2743201"/>
            <a:ext cx="2032000" cy="13338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9"/>
          <p:cNvPicPr>
            <a:picLocks noChangeAspect="1" noChangeArrowheads="1"/>
          </p:cNvPicPr>
          <p:nvPr/>
        </p:nvPicPr>
        <p:blipFill>
          <a:blip r:embed="rId4" cstate="print"/>
          <a:srcRect l="11563" r="32932" b="27168"/>
          <a:stretch>
            <a:fillRect/>
          </a:stretch>
        </p:blipFill>
        <p:spPr bwMode="auto">
          <a:xfrm>
            <a:off x="304801" y="4267200"/>
            <a:ext cx="2090057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12" name="Straight Connector 11"/>
          <p:cNvCxnSpPr/>
          <p:nvPr/>
        </p:nvCxnSpPr>
        <p:spPr>
          <a:xfrm>
            <a:off x="3352800" y="2667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3352800" y="4191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NDOH Logo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203200" y="5867400"/>
            <a:ext cx="3048000" cy="824484"/>
          </a:xfrm>
          <a:prstGeom prst="rect">
            <a:avLst/>
          </a:prstGeom>
        </p:spPr>
      </p:pic>
      <p:cxnSp>
        <p:nvCxnSpPr>
          <p:cNvPr id="17" name="Straight Connector 16"/>
          <p:cNvCxnSpPr/>
          <p:nvPr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09" r="16279" b="12798"/>
          <a:stretch/>
        </p:blipFill>
        <p:spPr>
          <a:xfrm>
            <a:off x="10512491" y="5810673"/>
            <a:ext cx="1505940" cy="992853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831639" y="3000047"/>
            <a:ext cx="8832981" cy="1066801"/>
          </a:xfrm>
        </p:spPr>
        <p:txBody>
          <a:bodyPr/>
          <a:lstStyle>
            <a:lvl1pPr algn="ctr">
              <a:defRPr>
                <a:solidFill>
                  <a:schemeClr val="accent6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454262646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Verdana" panose="020B0604030504040204" pitchFamily="34" charset="0"/>
              <a:cs typeface="+mn-cs"/>
              <a:sym typeface="Calibri" panose="020F0502020204030204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344787" y="0"/>
            <a:ext cx="11407824" cy="1052736"/>
          </a:xfrm>
          <a:prstGeom prst="rect">
            <a:avLst/>
          </a:prstGeom>
        </p:spPr>
        <p:txBody>
          <a:bodyPr anchor="ctr"/>
          <a:lstStyle>
            <a:lvl1pPr algn="l">
              <a:defRPr sz="2400" b="1" u="sng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44389" y="1277840"/>
            <a:ext cx="11512649" cy="4672110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42950" indent="-285750">
              <a:buFont typeface="Courier New" panose="02070309020205020404" pitchFamily="49" charset="0"/>
              <a:buChar char="o"/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 dirty="0"/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2566988" y="6026664"/>
            <a:ext cx="8281540" cy="6424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Rectangle 26"/>
          <p:cNvSpPr txBox="1">
            <a:spLocks noChangeArrowheads="1"/>
          </p:cNvSpPr>
          <p:nvPr/>
        </p:nvSpPr>
        <p:spPr>
          <a:xfrm>
            <a:off x="11759952" y="6605736"/>
            <a:ext cx="432048" cy="252264"/>
          </a:xfrm>
          <a:prstGeom prst="rect">
            <a:avLst/>
          </a:prstGeom>
          <a:ln/>
        </p:spPr>
        <p:txBody>
          <a:bodyPr anchor="b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17EE79-33E5-4C4B-BAE3-E8DBEA3383C6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923098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597915636"/>
      </p:ext>
    </p:extLst>
  </p:cSld>
  <p:clrMapOvr>
    <a:masterClrMapping/>
  </p:clrMapOvr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-1"/>
            <a:ext cx="10512491" cy="106680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09" r="16279" b="12798"/>
          <a:stretch/>
        </p:blipFill>
        <p:spPr>
          <a:xfrm>
            <a:off x="10673361" y="57573"/>
            <a:ext cx="1429120" cy="94220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4" name="Picture 3" descr="NDOH Logo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43338" y="6006430"/>
            <a:ext cx="2820459" cy="7629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4797812"/>
      </p:ext>
    </p:extLst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306456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11430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" name="Picture 11"/>
          <p:cNvPicPr>
            <a:picLocks noChangeAspect="1" noChangeArrowheads="1"/>
          </p:cNvPicPr>
          <p:nvPr userDrawn="1"/>
        </p:nvPicPr>
        <p:blipFill>
          <a:blip r:embed="rId2" cstate="print"/>
          <a:srcRect r="26000"/>
          <a:stretch>
            <a:fillRect/>
          </a:stretch>
        </p:blipFill>
        <p:spPr bwMode="auto">
          <a:xfrm>
            <a:off x="304800" y="1219200"/>
            <a:ext cx="2032000" cy="13729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9" name="Picture 7"/>
          <p:cNvPicPr>
            <a:picLocks noChangeAspect="1" noChangeArrowheads="1"/>
          </p:cNvPicPr>
          <p:nvPr userDrawn="1"/>
        </p:nvPicPr>
        <p:blipFill>
          <a:blip r:embed="rId3" cstate="print"/>
          <a:srcRect l="5799" r="18813"/>
          <a:stretch>
            <a:fillRect/>
          </a:stretch>
        </p:blipFill>
        <p:spPr bwMode="auto">
          <a:xfrm flipH="1">
            <a:off x="304800" y="2743201"/>
            <a:ext cx="2032000" cy="13338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4" cstate="print"/>
          <a:srcRect l="11563" r="32932" b="27168"/>
          <a:stretch>
            <a:fillRect/>
          </a:stretch>
        </p:blipFill>
        <p:spPr bwMode="auto">
          <a:xfrm>
            <a:off x="304801" y="4267200"/>
            <a:ext cx="2090057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12" name="Straight Connector 11"/>
          <p:cNvCxnSpPr/>
          <p:nvPr userDrawn="1"/>
        </p:nvCxnSpPr>
        <p:spPr>
          <a:xfrm>
            <a:off x="3352800" y="2667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3352800" y="4191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NDOH Logo.jpg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203200" y="5867400"/>
            <a:ext cx="3048000" cy="824484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623000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5001108-C480-4D60-AC87-5E26CA168208}" type="datetime1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27/2022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122471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609600" y="274639"/>
            <a:ext cx="10972800" cy="60340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BD32F0C-CFEF-4764-A761-A8AD09E49DDA}" type="datetime1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27/2022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620023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68DFC38-58BD-47D8-8F8D-5A13C9E84892}" type="datetime1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27/2022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11EA07C-EE9C-40C2-ADB5-5ED734F62BC1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4115183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4441" y="1500327"/>
            <a:ext cx="5344859" cy="4351223"/>
          </a:xfrm>
        </p:spPr>
        <p:txBody>
          <a:bodyPr/>
          <a:lstStyle>
            <a:lvl1pPr>
              <a:defRPr sz="1973"/>
            </a:lvl1pPr>
            <a:lvl2pPr>
              <a:defRPr sz="1633"/>
            </a:lvl2pPr>
            <a:lvl3pPr>
              <a:defRPr sz="1429"/>
            </a:lvl3pPr>
            <a:lvl4pPr>
              <a:defRPr sz="1225"/>
            </a:lvl4pPr>
            <a:lvl5pPr>
              <a:defRPr sz="1225"/>
            </a:lvl5pPr>
            <a:lvl6pPr>
              <a:defRPr sz="1225"/>
            </a:lvl6pPr>
            <a:lvl7pPr>
              <a:defRPr sz="1225"/>
            </a:lvl7pPr>
            <a:lvl8pPr>
              <a:defRPr sz="1225"/>
            </a:lvl8pPr>
            <a:lvl9pPr>
              <a:defRPr sz="1225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43061" y="1500327"/>
            <a:ext cx="5346671" cy="4351223"/>
          </a:xfrm>
        </p:spPr>
        <p:txBody>
          <a:bodyPr/>
          <a:lstStyle>
            <a:lvl1pPr>
              <a:defRPr sz="1973"/>
            </a:lvl1pPr>
            <a:lvl2pPr>
              <a:defRPr sz="1633"/>
            </a:lvl2pPr>
            <a:lvl3pPr>
              <a:defRPr sz="1429"/>
            </a:lvl3pPr>
            <a:lvl4pPr>
              <a:defRPr sz="1225"/>
            </a:lvl4pPr>
            <a:lvl5pPr>
              <a:defRPr sz="1225"/>
            </a:lvl5pPr>
            <a:lvl6pPr>
              <a:defRPr sz="1225"/>
            </a:lvl6pPr>
            <a:lvl7pPr>
              <a:defRPr sz="1225"/>
            </a:lvl7pPr>
            <a:lvl8pPr>
              <a:defRPr sz="1225"/>
            </a:lvl8pPr>
            <a:lvl9pPr>
              <a:defRPr sz="1225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713951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631705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1.xml"/><Relationship Id="rId10" Type="http://schemas.openxmlformats.org/officeDocument/2006/relationships/image" Target="../media/image4.png"/><Relationship Id="rId4" Type="http://schemas.openxmlformats.org/officeDocument/2006/relationships/vmlDrawing" Target="../drawings/vmlDrawing1.vml"/><Relationship Id="rId9" Type="http://schemas.openxmlformats.org/officeDocument/2006/relationships/image" Target="../media/image3.jp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slideLayout" Target="../slideLayouts/slideLayout15.xml"/><Relationship Id="rId1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5.xml"/><Relationship Id="rId21" Type="http://schemas.openxmlformats.org/officeDocument/2006/relationships/image" Target="../media/image2.jpeg"/><Relationship Id="rId7" Type="http://schemas.openxmlformats.org/officeDocument/2006/relationships/slideLayout" Target="../slideLayouts/slideLayout9.xml"/><Relationship Id="rId12" Type="http://schemas.openxmlformats.org/officeDocument/2006/relationships/slideLayout" Target="../slideLayouts/slideLayout14.xml"/><Relationship Id="rId17" Type="http://schemas.openxmlformats.org/officeDocument/2006/relationships/slideLayout" Target="../slideLayouts/slideLayout19.xml"/><Relationship Id="rId2" Type="http://schemas.openxmlformats.org/officeDocument/2006/relationships/slideLayout" Target="../slideLayouts/slideLayout4.xml"/><Relationship Id="rId16" Type="http://schemas.openxmlformats.org/officeDocument/2006/relationships/slideLayout" Target="../slideLayouts/slideLayout18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5" Type="http://schemas.openxmlformats.org/officeDocument/2006/relationships/slideLayout" Target="../slideLayouts/slideLayout7.xml"/><Relationship Id="rId1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12.xml"/><Relationship Id="rId19" Type="http://schemas.openxmlformats.org/officeDocument/2006/relationships/slideLayout" Target="../slideLayouts/slideLayout21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4" Type="http://schemas.openxmlformats.org/officeDocument/2006/relationships/slideLayout" Target="../slideLayouts/slideLayout16.xml"/><Relationship Id="rId22" Type="http://schemas.openxmlformats.org/officeDocument/2006/relationships/image" Target="../media/image8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" name="Picture 7" descr="NDOH Logo.jp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479376" y="6080006"/>
            <a:ext cx="1956363" cy="633080"/>
          </a:xfrm>
          <a:prstGeom prst="rect">
            <a:avLst/>
          </a:prstGeom>
        </p:spPr>
      </p:pic>
      <p:cxnSp>
        <p:nvCxnSpPr>
          <p:cNvPr id="15" name="Straight Connector 14"/>
          <p:cNvCxnSpPr/>
          <p:nvPr/>
        </p:nvCxnSpPr>
        <p:spPr>
          <a:xfrm>
            <a:off x="0" y="594928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91" b="2606"/>
          <a:stretch/>
        </p:blipFill>
        <p:spPr>
          <a:xfrm>
            <a:off x="5588240" y="6080006"/>
            <a:ext cx="1015520" cy="6336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10"/>
          <a:srcRect t="6042" b="4962"/>
          <a:stretch/>
        </p:blipFill>
        <p:spPr>
          <a:xfrm>
            <a:off x="10776520" y="6080006"/>
            <a:ext cx="1005750" cy="633600"/>
          </a:xfrm>
          <a:prstGeom prst="rect">
            <a:avLst/>
          </a:prstGeom>
        </p:spPr>
      </p:pic>
      <p:sp>
        <p:nvSpPr>
          <p:cNvPr id="10" name="Rectangle 2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11759952" y="6605736"/>
            <a:ext cx="432048" cy="252264"/>
          </a:xfrm>
          <a:prstGeom prst="rect">
            <a:avLst/>
          </a:prstGeom>
          <a:ln/>
        </p:spPr>
        <p:txBody>
          <a:bodyPr anchor="b"/>
          <a:lstStyle>
            <a:lvl1pPr algn="r">
              <a:defRPr sz="120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D520245-90A5-4BD6-A407-91F562333384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366203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11">
          <p15:clr>
            <a:srgbClr val="F26B43"/>
          </p15:clr>
        </p15:guide>
        <p15:guide id="4" pos="7469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374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" name="Picture 7" descr="NDOH Logo.jpg"/>
          <p:cNvPicPr>
            <a:picLocks noChangeAspect="1"/>
          </p:cNvPicPr>
          <p:nvPr userDrawn="1"/>
        </p:nvPicPr>
        <p:blipFill>
          <a:blip r:embed="rId21" cstate="print"/>
          <a:stretch>
            <a:fillRect/>
          </a:stretch>
        </p:blipFill>
        <p:spPr>
          <a:xfrm>
            <a:off x="203200" y="5867400"/>
            <a:ext cx="3048000" cy="824484"/>
          </a:xfrm>
          <a:prstGeom prst="rect">
            <a:avLst/>
          </a:prstGeom>
        </p:spPr>
      </p:pic>
      <p:pic>
        <p:nvPicPr>
          <p:cNvPr id="9" name="Picture 11"/>
          <p:cNvPicPr>
            <a:picLocks noChangeAspect="1" noChangeArrowheads="1"/>
          </p:cNvPicPr>
          <p:nvPr userDrawn="1"/>
        </p:nvPicPr>
        <p:blipFill>
          <a:blip r:embed="rId22" cstate="print"/>
          <a:srcRect r="26000"/>
          <a:stretch>
            <a:fillRect/>
          </a:stretch>
        </p:blipFill>
        <p:spPr bwMode="auto">
          <a:xfrm>
            <a:off x="9789161" y="2"/>
            <a:ext cx="1578863" cy="10667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6841711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7" r:id="rId2"/>
    <p:sldLayoutId id="2147483668" r:id="rId3"/>
    <p:sldLayoutId id="2147483669" r:id="rId4"/>
    <p:sldLayoutId id="2147483670" r:id="rId5"/>
    <p:sldLayoutId id="2147483671" r:id="rId6"/>
    <p:sldLayoutId id="2147483672" r:id="rId7"/>
    <p:sldLayoutId id="2147483673" r:id="rId8"/>
    <p:sldLayoutId id="2147483674" r:id="rId9"/>
    <p:sldLayoutId id="2147483675" r:id="rId10"/>
    <p:sldLayoutId id="2147483676" r:id="rId11"/>
    <p:sldLayoutId id="2147483677" r:id="rId12"/>
    <p:sldLayoutId id="2147483678" r:id="rId13"/>
    <p:sldLayoutId id="2147483679" r:id="rId14"/>
    <p:sldLayoutId id="2147483680" r:id="rId15"/>
    <p:sldLayoutId id="2147483681" r:id="rId16"/>
    <p:sldLayoutId id="2147483682" r:id="rId17"/>
    <p:sldLayoutId id="2147483683" r:id="rId18"/>
    <p:sldLayoutId id="2147483684" r:id="rId19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50984DC-53FF-2314-C781-E6641936EFA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52800" y="1250302"/>
            <a:ext cx="8534400" cy="3293706"/>
          </a:xfrm>
        </p:spPr>
        <p:txBody>
          <a:bodyPr/>
          <a:lstStyle/>
          <a:p>
            <a:pPr algn="ctr"/>
            <a:r>
              <a:rPr lang="en-ZA" sz="3200" b="1" i="0" dirty="0">
                <a:solidFill>
                  <a:srgbClr val="1F1F1F"/>
                </a:solidFill>
                <a:effectLst/>
                <a:latin typeface="Google Sans"/>
              </a:rPr>
              <a:t>Monkey Pox in South Africa</a:t>
            </a:r>
          </a:p>
          <a:p>
            <a:pPr algn="ctr"/>
            <a:endParaRPr lang="en-ZA" sz="3200" b="1" dirty="0">
              <a:solidFill>
                <a:srgbClr val="1F1F1F"/>
              </a:solidFill>
              <a:latin typeface="Google Sans"/>
            </a:endParaRPr>
          </a:p>
          <a:p>
            <a:pPr algn="ctr"/>
            <a:r>
              <a:rPr lang="en-ZA" sz="3200" b="1" i="0" dirty="0">
                <a:solidFill>
                  <a:srgbClr val="1F1F1F"/>
                </a:solidFill>
                <a:effectLst/>
                <a:latin typeface="Google Sans"/>
              </a:rPr>
              <a:t>Portfolio Committee Meeting</a:t>
            </a:r>
          </a:p>
          <a:p>
            <a:pPr algn="ctr"/>
            <a:r>
              <a:rPr lang="en-ZA" sz="3200" b="1" dirty="0">
                <a:solidFill>
                  <a:srgbClr val="1F1F1F"/>
                </a:solidFill>
                <a:latin typeface="Google Sans"/>
              </a:rPr>
              <a:t>28 September 2022</a:t>
            </a:r>
            <a:endParaRPr lang="en-ZA" sz="3200" b="1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F7804D0-DD72-B664-0EC2-7676618E6E5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80063264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6D0C6E-6794-B197-3082-A9D5CEEB5A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sz="2800" u="none" dirty="0"/>
              <a:t>Monkeypox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E63EDFF-B5BC-6321-7965-49B8BE46554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Presents with an unexplained acute rash or skin lesions AND one or more of the following signs or symptoms:</a:t>
            </a:r>
          </a:p>
          <a:p>
            <a:pPr lvl="1"/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headache, acute onset of fever (&gt;38.5°C), lymphadenopathy (swollen lymph nodes), myalgia (muscle pain/body aches) and backache AND for which the following differential diagnoses are </a:t>
            </a:r>
            <a:r>
              <a:rPr lang="en-US" sz="1800" b="1" dirty="0">
                <a:latin typeface="Arial" panose="020B0604020202020204" pitchFamily="34" charset="0"/>
                <a:cs typeface="Arial" panose="020B0604020202020204" pitchFamily="34" charset="0"/>
              </a:rPr>
              <a:t>excluded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: chickenpox, measles, bacterial skin infections, syphilis, molluscum contagiosum, allergic reactions and other locally relevant common cause of </a:t>
            </a: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papular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or vesicular rash</a:t>
            </a:r>
          </a:p>
          <a:p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Since January 2022 to 19 September 2022, 61 753 laboratory-confirmed monkeypox cases, including 23 deaths, have been reported from 105 countries/areas/territories across all six WHO Regions (European Region, Region of the Americas, Eastern Mediterranean Region, Western Pacific Region, South-East Asia Region and African Region).</a:t>
            </a:r>
          </a:p>
          <a:p>
            <a:pPr lvl="1"/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WHO Region of the Americas 36 783 confirmed cases</a:t>
            </a:r>
          </a:p>
          <a:p>
            <a:pPr lvl="1"/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WHO European Region with 24 138 confirmed cases</a:t>
            </a:r>
          </a:p>
          <a:p>
            <a:pPr lvl="1"/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WHO African Region is the third region reporting more cases with 587 laboratory-confirmed cases</a:t>
            </a:r>
            <a:endParaRPr lang="en-ZA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BF009AF-79B7-F499-581F-2600BB780E0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4762588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C9F611-D3CA-75B5-41A2-D7F3FC855B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sz="2800" u="none" dirty="0"/>
              <a:t>SITUATION IN SA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188DE7-3CAE-7CE6-338C-5E27C09B743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4389" y="1119212"/>
            <a:ext cx="11512649" cy="4907451"/>
          </a:xfrm>
        </p:spPr>
        <p:txBody>
          <a:bodyPr/>
          <a:lstStyle/>
          <a:p>
            <a:pPr>
              <a:lnSpc>
                <a:spcPct val="115000"/>
              </a:lnSpc>
            </a:pPr>
            <a:r>
              <a:rPr lang="en-ZA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ince 22 June 2022 to date (21 September 2022), there have been </a:t>
            </a:r>
            <a:r>
              <a:rPr lang="en-ZA" sz="1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ive unlinked laboratory-confirmed </a:t>
            </a:r>
            <a:r>
              <a:rPr lang="en-ZA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onkeypox cases reported in South Africa with no deaths.</a:t>
            </a:r>
          </a:p>
          <a:p>
            <a:pPr>
              <a:lnSpc>
                <a:spcPct val="115000"/>
              </a:lnSpc>
            </a:pPr>
            <a:r>
              <a:rPr lang="en-ZA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o new laboratory-confirmed case has been reported since the last case reported on 17 August 2022.</a:t>
            </a:r>
          </a:p>
          <a:p>
            <a:pPr>
              <a:lnSpc>
                <a:spcPct val="115000"/>
              </a:lnSpc>
            </a:pPr>
            <a:r>
              <a:rPr lang="en-ZA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he cases in South Africa were reported from Limpopo (n=1), Gauteng (n=2) and Western Cape (n=2).</a:t>
            </a:r>
          </a:p>
          <a:p>
            <a:pPr>
              <a:lnSpc>
                <a:spcPct val="115000"/>
              </a:lnSpc>
            </a:pPr>
            <a:r>
              <a:rPr lang="en-ZA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here have been </a:t>
            </a:r>
            <a:r>
              <a:rPr lang="en-ZA" sz="1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o secondary cases </a:t>
            </a:r>
            <a:r>
              <a:rPr lang="en-ZA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inked to the five confirmed cases. </a:t>
            </a:r>
          </a:p>
          <a:p>
            <a:pPr>
              <a:lnSpc>
                <a:spcPct val="115000"/>
              </a:lnSpc>
            </a:pPr>
            <a:endParaRPr lang="en-ZA" sz="18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lnSpc>
                <a:spcPct val="115000"/>
              </a:lnSpc>
            </a:pPr>
            <a:r>
              <a:rPr lang="en-ZA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rom 25 May to 21 September 2022, the National Institute for Communicable Diseases conducted 382 monkeypox laboratory tests (PCR) from individuals suspected of monkeypox disease within South Africa (n=268) and other African countries (n=114).</a:t>
            </a:r>
          </a:p>
          <a:p>
            <a:pPr>
              <a:lnSpc>
                <a:spcPct val="115000"/>
              </a:lnSpc>
            </a:pPr>
            <a:r>
              <a:rPr lang="en-ZA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his testing volume does not account for the testing conducted by private-sector laboratories. Full genetic sequencing for the first two cases reported (i.e., the first cases to be identified in Gauteng and in Western Cape Province) was conducted.</a:t>
            </a:r>
          </a:p>
          <a:p>
            <a:pPr>
              <a:lnSpc>
                <a:spcPct val="115000"/>
              </a:lnSpc>
            </a:pPr>
            <a:r>
              <a:rPr lang="en-ZA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he </a:t>
            </a:r>
            <a:r>
              <a:rPr lang="en-ZA" sz="1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viral genomes clustered in the B.1 lineage </a:t>
            </a:r>
            <a:r>
              <a:rPr lang="en-ZA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f the Western Africa clade with other viral genomes associated with cases of the current multi-country outbreak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A143D77-4D66-306B-950A-B2CD14F9C8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53343057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8348CB-989E-B35C-A804-C01519088D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2207" y="0"/>
            <a:ext cx="11407824" cy="1052736"/>
          </a:xfrm>
        </p:spPr>
        <p:txBody>
          <a:bodyPr/>
          <a:lstStyle/>
          <a:p>
            <a:r>
              <a:rPr lang="en-ZA" sz="2800" u="none" dirty="0"/>
              <a:t>ACTION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51CC233-520B-172E-364D-85FA2DA9E55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4389" y="1193861"/>
            <a:ext cx="11512649" cy="4672110"/>
          </a:xfrm>
        </p:spPr>
        <p:txBody>
          <a:bodyPr/>
          <a:lstStyle/>
          <a:p>
            <a:pPr>
              <a:lnSpc>
                <a:spcPct val="115000"/>
              </a:lnSpc>
            </a:pPr>
            <a:r>
              <a:rPr lang="en-ZA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n 23 July 2022, the WHO Director-General declared this outbreak a </a:t>
            </a:r>
            <a:r>
              <a:rPr lang="en-ZA" sz="1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ublic health emergency of international concern </a:t>
            </a:r>
            <a:r>
              <a:rPr lang="en-ZA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(PHEIC) and issued temporary recommendations for countries in order to stop transmission and contain the outbreak.</a:t>
            </a:r>
          </a:p>
          <a:p>
            <a:pPr>
              <a:lnSpc>
                <a:spcPct val="115000"/>
              </a:lnSpc>
            </a:pPr>
            <a:r>
              <a:rPr lang="en-ZA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everal actions have been undertaken to address the requirements imposed through the WHO and related to the PHEIC status of monkeypox.</a:t>
            </a:r>
          </a:p>
          <a:p>
            <a:pPr lvl="1">
              <a:lnSpc>
                <a:spcPct val="115000"/>
              </a:lnSpc>
            </a:pPr>
            <a:r>
              <a:rPr lang="en-ZA" sz="18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</a:t>
            </a:r>
            <a:r>
              <a:rPr lang="en-ZA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national </a:t>
            </a:r>
            <a:r>
              <a:rPr lang="en-ZA" sz="1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isk assessment </a:t>
            </a:r>
            <a:r>
              <a:rPr lang="en-ZA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nd WHO-mediated </a:t>
            </a:r>
            <a:r>
              <a:rPr lang="en-ZA" sz="1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gap analysis </a:t>
            </a:r>
            <a:r>
              <a:rPr lang="en-ZA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have been conducted, and a multi-sectoral action plan has been developed.</a:t>
            </a:r>
          </a:p>
          <a:p>
            <a:pPr lvl="1">
              <a:lnSpc>
                <a:spcPct val="115000"/>
              </a:lnSpc>
            </a:pPr>
            <a:r>
              <a:rPr lang="en-ZA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iscussions are also underway to determine the </a:t>
            </a:r>
            <a:r>
              <a:rPr lang="en-ZA" sz="1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eed for monkeypox vaccines </a:t>
            </a:r>
            <a:r>
              <a:rPr lang="en-ZA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nd possible strategies for access to monkeypox vaccines.</a:t>
            </a:r>
          </a:p>
          <a:p>
            <a:pPr lvl="1">
              <a:lnSpc>
                <a:spcPct val="115000"/>
              </a:lnSpc>
            </a:pPr>
            <a:r>
              <a:rPr lang="en-ZA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teps have also been taken to </a:t>
            </a:r>
            <a:r>
              <a:rPr lang="en-ZA" sz="1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mprove surveillance </a:t>
            </a:r>
            <a:r>
              <a:rPr lang="en-ZA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hrough employing an active case finding approach in partnership with non-governmental organizations, and improved accessibility of testing aimed at the at risk population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7DC87AF-E209-EE58-9206-DCE5169548B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7774349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DeIVz0RoyyGqFVhYARYQ"/>
</p:tagLst>
</file>

<file path=ppt/theme/theme1.xml><?xml version="1.0" encoding="utf-8"?>
<a:theme xmlns:a="http://schemas.openxmlformats.org/drawingml/2006/main" name="Custom Design">
  <a:themeElements>
    <a:clrScheme name="Custom 3">
      <a:dk1>
        <a:sysClr val="windowText" lastClr="000000"/>
      </a:dk1>
      <a:lt1>
        <a:sysClr val="window" lastClr="FFFFFF"/>
      </a:lt1>
      <a:dk2>
        <a:srgbClr val="005D28"/>
      </a:dk2>
      <a:lt2>
        <a:srgbClr val="7F7F7F"/>
      </a:lt2>
      <a:accent1>
        <a:srgbClr val="005D28"/>
      </a:accent1>
      <a:accent2>
        <a:srgbClr val="39931D"/>
      </a:accent2>
      <a:accent3>
        <a:srgbClr val="9BBB59"/>
      </a:accent3>
      <a:accent4>
        <a:srgbClr val="FFC000"/>
      </a:accent4>
      <a:accent5>
        <a:srgbClr val="81875A"/>
      </a:accent5>
      <a:accent6>
        <a:srgbClr val="FFFF00"/>
      </a:accent6>
      <a:hlink>
        <a:srgbClr val="0000FF"/>
      </a:hlink>
      <a:folHlink>
        <a:srgbClr val="FF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8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995</TotalTime>
  <Words>501</Words>
  <Application>Microsoft Office PowerPoint</Application>
  <PresentationFormat>Widescreen</PresentationFormat>
  <Paragraphs>27</Paragraphs>
  <Slides>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2" baseType="lpstr">
      <vt:lpstr>Arial</vt:lpstr>
      <vt:lpstr>Calibri</vt:lpstr>
      <vt:lpstr>Courier New</vt:lpstr>
      <vt:lpstr>Google Sans</vt:lpstr>
      <vt:lpstr>Verdana</vt:lpstr>
      <vt:lpstr>Custom Design</vt:lpstr>
      <vt:lpstr>8_Custom Design</vt:lpstr>
      <vt:lpstr>think-cell Slide</vt:lpstr>
      <vt:lpstr>PowerPoint Presentation</vt:lpstr>
      <vt:lpstr>Monkeypox</vt:lpstr>
      <vt:lpstr>SITUATION IN SA</vt:lpstr>
      <vt:lpstr>ACTION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chonm</dc:creator>
  <cp:lastModifiedBy>Vuyokazi Majalamba</cp:lastModifiedBy>
  <cp:revision>77</cp:revision>
  <dcterms:created xsi:type="dcterms:W3CDTF">2020-09-30T07:19:26Z</dcterms:created>
  <dcterms:modified xsi:type="dcterms:W3CDTF">2022-09-27T13:32:13Z</dcterms:modified>
</cp:coreProperties>
</file>